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Aumente a eficiência do seu equipamento e assegure a qualidade do produ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Sistema de refrigeração de ar do f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,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205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FACE09-5486-4408-856A-EF79B95E67E9}"/>
              </a:ext>
            </a:extLst>
          </p:cNvPr>
          <p:cNvSpPr/>
          <p:nvPr/>
        </p:nvSpPr>
        <p:spPr>
          <a:xfrm>
            <a:off x="4760867" y="2160646"/>
            <a:ext cx="386344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/>
              <a:t>Os componentes do sistema de refrigeração do forno: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um trocador térmico ar / água (radiador) na frente da ventilação do forn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uma válvula de 3 vias que permite a regulação do fluxo de água através do desvio (controlado por uma sonda de temperatura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pt-BR" sz="1100" dirty="0"/>
              <a:t>A temperatura é ajustada a partir do HMI</a:t>
            </a:r>
          </a:p>
          <a:p>
            <a:endParaRPr lang="pt-BR" sz="1100" dirty="0">
              <a:solidFill>
                <a:srgbClr val="FF0000"/>
              </a:solidFill>
            </a:endParaRPr>
          </a:p>
          <a:p>
            <a:r>
              <a:rPr lang="pt-BR" sz="1100" dirty="0">
                <a:solidFill>
                  <a:srgbClr val="FF0000"/>
                </a:solidFill>
              </a:rPr>
              <a:t>O abastecimento de água do trocador térmico é fornecido pela rede de água gelada do cliente.</a:t>
            </a:r>
            <a:endParaRPr lang="fr-FR" sz="1100" dirty="0">
              <a:solidFill>
                <a:srgbClr val="FF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596321" y="2174553"/>
            <a:ext cx="3962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Aumente a flexibilidade do processo (amplie a janela do processo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Evite o superaquecimento do forn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Qualidade segura do gargalo da garrafa</a:t>
            </a:r>
            <a:endParaRPr lang="en-GB" altLang="fr-FR" sz="1200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CAB5D94-83D9-4EDD-9AA1-D3E3598BCE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6656" y="4204795"/>
            <a:ext cx="3291863" cy="15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1</TotalTime>
  <Words>134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a eficiência do seu equipamento e assegure a qualidade d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